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</p:sldMasterIdLst>
  <p:notesMasterIdLst>
    <p:notesMasterId r:id="rId12"/>
  </p:notesMasterIdLst>
  <p:sldIdLst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E81400-A6B9-43F7-8C68-A3E1C11AB42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33DFB3-1B9F-4B43-8A41-8419AF60F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16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136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2CA77-0014-4C8F-BCDB-FC15F4B156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35CDD8-86BC-4A0E-AAA7-68F9A8E7EF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B634D-8E26-4744-AC91-4C624643A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3BE2F6-BFB7-4006-A0DD-348C1B350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EB31E-7D9C-49F8-9146-CFC9FB6E7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707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1379F-7C0B-4E6C-BC67-DC0051DADD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182801-BD42-4E79-B911-F3BCD85E38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FC5203-5F86-4FC3-860B-F99E8EECE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368D34-89FE-4A28-B02B-FEC0BD44A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BEEE9B-7667-45F1-8A44-64CC8772A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849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9A0D99B-39F6-4D3A-B2D9-3278D96DB8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DB371E-424B-41B3-BBF3-DBCC0BA75E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2E5AF-21FC-4F4D-9A80-D275681D4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CE99B-46B8-4A9F-B6D8-F24FAF79A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201CE-A814-4091-AA35-1912F4F17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444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521" y="1524000"/>
            <a:ext cx="11091672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24" y="3392425"/>
            <a:ext cx="6858000" cy="73152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522" y="1186668"/>
            <a:ext cx="640080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100000">
                <a:srgbClr val="FDB515"/>
              </a:gs>
              <a:gs pos="0">
                <a:srgbClr val="EC008C"/>
              </a:gs>
            </a:gsLst>
            <a:lin ang="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37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 userDrawn="1"/>
        </p:nvSpPr>
        <p:spPr bwMode="auto">
          <a:xfrm>
            <a:off x="3189289" y="-237547377"/>
            <a:ext cx="5813425" cy="142875"/>
          </a:xfrm>
          <a:custGeom>
            <a:avLst/>
            <a:gdLst>
              <a:gd name="T0" fmla="*/ 3662 w 3662"/>
              <a:gd name="T1" fmla="*/ 0 h 90"/>
              <a:gd name="T2" fmla="*/ 33 w 3662"/>
              <a:gd name="T3" fmla="*/ 0 h 90"/>
              <a:gd name="T4" fmla="*/ 0 w 3662"/>
              <a:gd name="T5" fmla="*/ 90 h 90"/>
              <a:gd name="T6" fmla="*/ 3629 w 3662"/>
              <a:gd name="T7" fmla="*/ 90 h 90"/>
              <a:gd name="T8" fmla="*/ 3662 w 3662"/>
              <a:gd name="T9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62" h="90">
                <a:moveTo>
                  <a:pt x="3662" y="0"/>
                </a:moveTo>
                <a:lnTo>
                  <a:pt x="33" y="0"/>
                </a:lnTo>
                <a:lnTo>
                  <a:pt x="0" y="90"/>
                </a:lnTo>
                <a:lnTo>
                  <a:pt x="3629" y="90"/>
                </a:lnTo>
                <a:lnTo>
                  <a:pt x="366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6" name="Freeform 9"/>
          <p:cNvSpPr>
            <a:spLocks/>
          </p:cNvSpPr>
          <p:nvPr userDrawn="1"/>
        </p:nvSpPr>
        <p:spPr bwMode="auto">
          <a:xfrm>
            <a:off x="3189289" y="-233717354"/>
            <a:ext cx="5813425" cy="142876"/>
          </a:xfrm>
          <a:custGeom>
            <a:avLst/>
            <a:gdLst>
              <a:gd name="T0" fmla="*/ 3662 w 3662"/>
              <a:gd name="T1" fmla="*/ 0 h 90"/>
              <a:gd name="T2" fmla="*/ 33 w 3662"/>
              <a:gd name="T3" fmla="*/ 0 h 90"/>
              <a:gd name="T4" fmla="*/ 0 w 3662"/>
              <a:gd name="T5" fmla="*/ 90 h 90"/>
              <a:gd name="T6" fmla="*/ 3629 w 3662"/>
              <a:gd name="T7" fmla="*/ 90 h 90"/>
              <a:gd name="T8" fmla="*/ 3662 w 3662"/>
              <a:gd name="T9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62" h="90">
                <a:moveTo>
                  <a:pt x="3662" y="0"/>
                </a:moveTo>
                <a:lnTo>
                  <a:pt x="33" y="0"/>
                </a:lnTo>
                <a:lnTo>
                  <a:pt x="0" y="90"/>
                </a:lnTo>
                <a:lnTo>
                  <a:pt x="3629" y="90"/>
                </a:lnTo>
                <a:lnTo>
                  <a:pt x="366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730883" y="3075057"/>
            <a:ext cx="2730235" cy="70788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914126">
              <a:defRPr/>
            </a:pPr>
            <a:r>
              <a:rPr lang="en-US" sz="3999" b="1" dirty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5" name="Freeform: Shape 9"/>
          <p:cNvSpPr>
            <a:spLocks/>
          </p:cNvSpPr>
          <p:nvPr userDrawn="1"/>
        </p:nvSpPr>
        <p:spPr bwMode="auto">
          <a:xfrm flipH="1">
            <a:off x="4770121" y="3012450"/>
            <a:ext cx="2651760" cy="73152"/>
          </a:xfrm>
          <a:custGeom>
            <a:avLst/>
            <a:gdLst>
              <a:gd name="connsiteX0" fmla="*/ 2714641 w 2825755"/>
              <a:gd name="connsiteY0" fmla="*/ 91440 h 91440"/>
              <a:gd name="connsiteX1" fmla="*/ 64310 w 2825755"/>
              <a:gd name="connsiteY1" fmla="*/ 91440 h 91440"/>
              <a:gd name="connsiteX2" fmla="*/ 64310 w 2825755"/>
              <a:gd name="connsiteY2" fmla="*/ 91133 h 91440"/>
              <a:gd name="connsiteX3" fmla="*/ 0 w 2825755"/>
              <a:gd name="connsiteY3" fmla="*/ 91133 h 91440"/>
              <a:gd name="connsiteX4" fmla="*/ 33415 w 2825755"/>
              <a:gd name="connsiteY4" fmla="*/ 0 h 91440"/>
              <a:gd name="connsiteX5" fmla="*/ 64310 w 2825755"/>
              <a:gd name="connsiteY5" fmla="*/ 75 h 91440"/>
              <a:gd name="connsiteX6" fmla="*/ 64310 w 2825755"/>
              <a:gd name="connsiteY6" fmla="*/ 0 h 91440"/>
              <a:gd name="connsiteX7" fmla="*/ 1992392 w 2825755"/>
              <a:gd name="connsiteY7" fmla="*/ 0 h 91440"/>
              <a:gd name="connsiteX8" fmla="*/ 2714641 w 2825755"/>
              <a:gd name="connsiteY8" fmla="*/ 0 h 91440"/>
              <a:gd name="connsiteX9" fmla="*/ 2825755 w 2825755"/>
              <a:gd name="connsiteY9" fmla="*/ 0 h 91440"/>
              <a:gd name="connsiteX10" fmla="*/ 2792340 w 2825755"/>
              <a:gd name="connsiteY10" fmla="*/ 91133 h 91440"/>
              <a:gd name="connsiteX11" fmla="*/ 2714641 w 2825755"/>
              <a:gd name="connsiteY11" fmla="*/ 90944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25755" h="91440">
                <a:moveTo>
                  <a:pt x="2714641" y="91440"/>
                </a:moveTo>
                <a:lnTo>
                  <a:pt x="64310" y="91440"/>
                </a:lnTo>
                <a:lnTo>
                  <a:pt x="64310" y="91133"/>
                </a:lnTo>
                <a:lnTo>
                  <a:pt x="0" y="91133"/>
                </a:lnTo>
                <a:lnTo>
                  <a:pt x="33415" y="0"/>
                </a:lnTo>
                <a:lnTo>
                  <a:pt x="64310" y="75"/>
                </a:lnTo>
                <a:lnTo>
                  <a:pt x="64310" y="0"/>
                </a:lnTo>
                <a:lnTo>
                  <a:pt x="1992392" y="0"/>
                </a:lnTo>
                <a:lnTo>
                  <a:pt x="2714641" y="0"/>
                </a:lnTo>
                <a:lnTo>
                  <a:pt x="2825755" y="0"/>
                </a:lnTo>
                <a:lnTo>
                  <a:pt x="2792340" y="91133"/>
                </a:lnTo>
                <a:lnTo>
                  <a:pt x="2714641" y="909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4485" y="6382385"/>
            <a:ext cx="393012" cy="29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42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84BB01-DC3A-44CC-B7BA-304206FB37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FB7A3A-98DB-41E3-8CA1-2254861A9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FF4BA5-9793-45B4-B40A-89AB9F49B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C75235-ECC0-4273-AD79-7E97DFA7D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507C96-7512-49C5-83B5-94109281B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9248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381D8E-2995-4CF9-A0A1-70D21A0CC1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2A7054-95FE-4F04-AC83-1AD876AFAC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9F9ACA-1B8D-40CF-9C4E-B2261EF3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F84606-94AE-4206-A343-7AA86495F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49A17C-5E3E-41D5-9B5D-C787427F4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5742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917800-A653-4133-A1BF-053DDBAC0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DA546C-8507-4AEE-9F46-CFC0E96073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50581A-921D-4E48-87B5-66842AD65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7E1FC7-E125-4BCA-80D1-A9E3A2C97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EF4AF6-A405-430B-92D2-E801FEF15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887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B04EC-DAC8-4A61-B59C-5D0656A3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68ECCD-6397-454B-8859-799CF71A34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CA6872-36AA-414B-840B-0BD17FF6C2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C0DD18-DCA9-4D10-BFDC-F1D0A1912C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5E43FC-A283-4C85-BC98-38B2F429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CB3545-DE36-426C-B209-C15EB8815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1524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81AC91-CFCD-4EC4-A654-40FB73C55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9804E-53B5-4B4A-8E70-E3C5B454C2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3FF659-D62A-461E-830A-2681FBEF6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4562A5-4D8C-4C86-936A-6BAA9C9D4D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429CDD-D1B0-4D64-B844-2A72A230ED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051FD3-60A9-453B-94A7-E294A9503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0ECC7D-A7E5-4FF5-BFA9-5083BE6BC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12FCFE-0359-4148-9334-7209331C3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957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03AD9-2A27-4158-BBE2-6A4921516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A785E4-3E8B-4A53-BC68-09FCBBCAC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B948C-DBCB-4ADC-9B63-D6569234D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E0B913-C56F-41CA-A802-213095A7A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4588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F4CD6-A54A-411A-BCA5-C97DC74B5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53381D-43DC-47C0-9A30-A61537DCA7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E8B1AB-6421-4860-AF2B-1AE306C0E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318E7-E995-4265-A3AD-31BE2BD78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20C562-4824-4FC1-8E00-09F1110BE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868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03B71C-B4BF-4559-AD06-035784DCB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8301D2-1D56-418D-84A4-24BC3DAC3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DC9BC-E1C2-48DB-9E95-752F8B1CD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2155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1BA98-BF04-47E6-9305-314110EFC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8FFB7-B5AA-41BE-85AF-408A243649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22D419-5574-49A5-9C9F-5CBB7EA6AC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E3C492-C2D3-4543-917E-0130D5D81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026CD9-BCA0-4AFC-84A5-EEDBD95FB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784B71-290C-4EFE-BD51-0C4927A51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2117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9E39F2-F387-4B40-86B3-FDCF8D2AB2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894C38-D5B4-47C9-96A9-AFFD7A2240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EC0FE1-C0F8-4B3D-BB9C-38A350F10C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75F314-5F05-434C-BDCD-A5CDE8968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613BA1-4485-4F79-B015-D8FB74BF2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3C4173-A5E3-4F21-88C3-7859BA195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900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C717E-0E16-49CD-B660-BEE2BA9BC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28E65D-08E8-47A8-923B-2893EBFE42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4152E3-4F8F-490B-96A1-4C98D944B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890AAB-95F4-4CAF-9209-C1E40A89A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9AADCE-2F3C-4BE2-B94A-9122AA807F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834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7442219-0AD8-4E70-A5BE-DC303A4D82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932FB9-2675-410B-B86B-DEBF308048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7B74DF-5F27-4B42-91ED-C8EC184C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B9B58-E21C-4A63-B4E4-7A0EFD8C9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09AD98-CB84-4C3C-8D5D-9E104537D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211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21D7E-7AFE-449F-A0EB-A4A2032D8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258E0B-3EF0-432B-A2EC-5B6CDC3ED4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CF3CB2-FB49-48B1-826B-F6CF90230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10119-16A8-4484-96C0-15BEA48BA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40DECE-9440-4BDB-93F7-0DF873EE6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82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07504E-1C53-4C79-B053-F36E9F5DF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10A318-DC97-4646-91D0-982C111EC8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E841F1-BEC5-45AB-9EE1-20FDEC92F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620479-9B97-4154-B244-429B2DBD1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8CA228-7B52-4465-AB9B-0C7DBFC12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952DD0-17BC-46C2-8BF9-BE2F88A5B6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504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A1461C-D4AB-4064-AE15-EEF92D168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E8F41B-F01C-4E3B-AEEB-1074BBE2C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A93381-A0C1-47F9-BC6B-4855488DC5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67845F-E9D4-4A77-B765-D621592A99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39C28C8-5599-4520-8D45-F23B8EC5FE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DBDA37-2DD3-45CF-A9CD-6A46E3B9E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EB1C3CF-E69A-403C-AFB7-FB8161AB8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5FB2EA-972D-4282-A02C-7A738A825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371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48606-A7B4-4221-9CAF-AD07EE786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07774F-12D1-4522-B867-31D2BFC5A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A8A060-A4BE-4593-A6EE-38BF5092C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0C391-1C85-44BA-B7E3-FE8E90B1E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317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EE8AC3-67C3-49F9-906D-DE44A910C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28F4EE-454A-45FC-9C5B-AACBF4612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03028-77A6-44FA-A622-F82AB2575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486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D0657-E6CA-4A87-89C8-FABC9C2ED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CAECE-9F43-4EC1-9E1D-D394664230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79C396-2513-4B7D-901A-51074CA741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E96981-4433-42A7-9027-FBE910C57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C38B93-F686-467F-A8BC-A344CD344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AF366B-2B86-43E7-B767-A3F26B731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72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FC2CC3-F583-49E7-AD55-42B077372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CAC28-F7C4-4E54-B601-B26C0ED307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8604D6-1D94-4BDB-97AA-07C8FDC8A1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256BAD-8716-4B6C-A564-95CCC34D5B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C75C28-1506-4953-9369-F02A4C1CE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9DC481-9B84-4488-A7AA-3EDD72246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835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E4F76C-D976-4913-AF8D-1DE95D550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6A7224-6A4C-437B-9F25-D9063C4F26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0C0F4F-7ACD-4879-A016-5BBB18474A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EF5254-99AD-4034-AB42-7A4F97662BCE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ED3BD-70CA-4C0B-B0F4-D2B7D4E4EC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7A97B-CE93-476B-84AA-13EBC5EBA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0AB918-A77F-43FF-9413-DDDA58141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85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521" y="450025"/>
            <a:ext cx="1109167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524000"/>
            <a:ext cx="11091672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641" y="6347387"/>
            <a:ext cx="629893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975" y="6434199"/>
            <a:ext cx="256032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225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861A11-F427-402B-A995-47746C4B7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EE295-E413-43EA-9140-1DF312E91F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047AB4-9AE4-4BAB-BE6B-5D38BD58E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0734C-E350-4497-9E6C-9DAD5A878F97}" type="datetimeFigureOut">
              <a:rPr lang="en-US" smtClean="0"/>
              <a:t>2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89E3B-9689-400B-A618-922A10021C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2EE74-81B1-4E6C-8817-D22A24565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A69F2A-8AFA-4639-A75A-997F3F43A3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03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0"/>
            <a:ext cx="12188825" cy="547278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7118" y="6139800"/>
            <a:ext cx="2425576" cy="53021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5778" y="1641766"/>
            <a:ext cx="117073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</a:rPr>
              <a:t>React-Redux :The Amdocs Way</a:t>
            </a:r>
          </a:p>
        </p:txBody>
      </p:sp>
      <p:sp>
        <p:nvSpPr>
          <p:cNvPr id="7" name="Freeform: Shape 44"/>
          <p:cNvSpPr>
            <a:spLocks/>
          </p:cNvSpPr>
          <p:nvPr/>
        </p:nvSpPr>
        <p:spPr bwMode="auto">
          <a:xfrm flipV="1">
            <a:off x="5778308" y="3260830"/>
            <a:ext cx="631818" cy="63387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527348" y="6217920"/>
            <a:ext cx="1663064" cy="568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1" name="TextBox 10"/>
          <p:cNvSpPr txBox="1"/>
          <p:nvPr/>
        </p:nvSpPr>
        <p:spPr>
          <a:xfrm>
            <a:off x="483046" y="3638808"/>
            <a:ext cx="11213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Sandeep Bamane</a:t>
            </a:r>
          </a:p>
        </p:txBody>
      </p:sp>
    </p:spTree>
    <p:extLst>
      <p:ext uri="{BB962C8B-B14F-4D97-AF65-F5344CB8AC3E}">
        <p14:creationId xmlns:p14="http://schemas.microsoft.com/office/powerpoint/2010/main" val="108896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Subtitle 3"/>
          <p:cNvSpPr>
            <a:spLocks noGrp="1"/>
          </p:cNvSpPr>
          <p:nvPr>
            <p:ph idx="1"/>
          </p:nvPr>
        </p:nvSpPr>
        <p:spPr>
          <a:xfrm>
            <a:off x="547966" y="1524001"/>
            <a:ext cx="11088784" cy="2108269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Problems with Redux State Management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Solution – the Ideation phas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Implementation  - the prototyping phas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Impact</a:t>
            </a:r>
          </a:p>
        </p:txBody>
      </p:sp>
    </p:spTree>
    <p:extLst>
      <p:ext uri="{BB962C8B-B14F-4D97-AF65-F5344CB8AC3E}">
        <p14:creationId xmlns:p14="http://schemas.microsoft.com/office/powerpoint/2010/main" val="179736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966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Problems with Redux State Management</a:t>
            </a:r>
          </a:p>
        </p:txBody>
      </p:sp>
      <p:sp>
        <p:nvSpPr>
          <p:cNvPr id="4" name="Subtitle 3"/>
          <p:cNvSpPr>
            <a:spLocks noGrp="1"/>
          </p:cNvSpPr>
          <p:nvPr>
            <p:ph idx="1"/>
          </p:nvPr>
        </p:nvSpPr>
        <p:spPr>
          <a:xfrm>
            <a:off x="547966" y="1524001"/>
            <a:ext cx="11088784" cy="3195747"/>
          </a:xfrm>
        </p:spPr>
        <p:txBody>
          <a:bodyPr/>
          <a:lstStyle/>
          <a:p>
            <a:pPr marL="576089" lvl="1" indent="-342797">
              <a:buFont typeface="Arial" panose="020B0604020202020204" pitchFamily="34" charset="0"/>
              <a:buChar char="•"/>
            </a:pPr>
            <a:endParaRPr lang="en-US" sz="2600" dirty="0">
              <a:solidFill>
                <a:srgbClr val="003A69"/>
              </a:solidFill>
            </a:endParaRP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No Encapsulation over shared state data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Duplicate copies of business logic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Component may be with multiple instances but store is singleton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Confusion whether the state belongs to view or business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endParaRPr lang="en-US" sz="2800" dirty="0">
              <a:solidFill>
                <a:srgbClr val="003A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7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966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Solution – the Ideation phas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9D72332-48BD-4CE5-AFF1-87566B3924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966" y="1524001"/>
            <a:ext cx="11088784" cy="2259593"/>
          </a:xfrm>
        </p:spPr>
        <p:txBody>
          <a:bodyPr/>
          <a:lstStyle/>
          <a:p>
            <a:pPr marL="576089" lvl="1" indent="-342797">
              <a:buFont typeface="Arial" panose="020B0604020202020204" pitchFamily="34" charset="0"/>
              <a:buChar char="•"/>
            </a:pPr>
            <a:endParaRPr lang="en-US" sz="2600" dirty="0">
              <a:solidFill>
                <a:srgbClr val="003A69"/>
              </a:solidFill>
            </a:endParaRPr>
          </a:p>
          <a:p>
            <a:pPr marL="0" indent="0">
              <a:buNone/>
            </a:pPr>
            <a:r>
              <a:rPr lang="en-US" sz="2800" dirty="0">
                <a:latin typeface="Abadi" panose="020B0604020104020204" pitchFamily="34" charset="0"/>
              </a:rPr>
              <a:t>A module which can …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Encapsulate</a:t>
            </a:r>
            <a:r>
              <a:rPr lang="en-US" sz="2400" dirty="0">
                <a:latin typeface="Abadi" panose="020B0604020104020204" pitchFamily="34" charset="0"/>
              </a:rPr>
              <a:t> a part of global state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Provide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Interface</a:t>
            </a:r>
            <a:r>
              <a:rPr lang="en-US" sz="2400" dirty="0">
                <a:latin typeface="Abadi" panose="020B0604020104020204" pitchFamily="34" charset="0"/>
              </a:rPr>
              <a:t> to manage this state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Has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Single Responsibility</a:t>
            </a:r>
          </a:p>
        </p:txBody>
      </p:sp>
    </p:spTree>
    <p:extLst>
      <p:ext uri="{BB962C8B-B14F-4D97-AF65-F5344CB8AC3E}">
        <p14:creationId xmlns:p14="http://schemas.microsoft.com/office/powerpoint/2010/main" val="138304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966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Implementation  - the prototyping phase</a:t>
            </a: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A6220D96-081B-42F2-82AB-491B6D0D713D}"/>
              </a:ext>
            </a:extLst>
          </p:cNvPr>
          <p:cNvSpPr/>
          <p:nvPr/>
        </p:nvSpPr>
        <p:spPr>
          <a:xfrm>
            <a:off x="580091" y="1312132"/>
            <a:ext cx="3875665" cy="1449335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 dirty="0" err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7" name="Rounded Rectangle 8">
            <a:extLst>
              <a:ext uri="{FF2B5EF4-FFF2-40B4-BE49-F238E27FC236}">
                <a16:creationId xmlns:a16="http://schemas.microsoft.com/office/drawing/2014/main" id="{C790768B-B595-488F-8783-1B6771C24A5D}"/>
              </a:ext>
            </a:extLst>
          </p:cNvPr>
          <p:cNvSpPr/>
          <p:nvPr/>
        </p:nvSpPr>
        <p:spPr>
          <a:xfrm>
            <a:off x="2693391" y="2252865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0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entury Gothic" panose="020F0302020204030204"/>
              </a:rPr>
              <a:t>Container</a:t>
            </a:r>
          </a:p>
        </p:txBody>
      </p:sp>
      <p:sp>
        <p:nvSpPr>
          <p:cNvPr id="8" name="Rounded Rectangle 9">
            <a:extLst>
              <a:ext uri="{FF2B5EF4-FFF2-40B4-BE49-F238E27FC236}">
                <a16:creationId xmlns:a16="http://schemas.microsoft.com/office/drawing/2014/main" id="{E977D4A9-8DD6-41C2-A5A6-749A78D7EC9B}"/>
              </a:ext>
            </a:extLst>
          </p:cNvPr>
          <p:cNvSpPr/>
          <p:nvPr/>
        </p:nvSpPr>
        <p:spPr>
          <a:xfrm>
            <a:off x="580088" y="2857698"/>
            <a:ext cx="3875666" cy="2355947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 dirty="0" err="1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412E5956-046F-475F-BFBC-7B423707E020}"/>
              </a:ext>
            </a:extLst>
          </p:cNvPr>
          <p:cNvSpPr/>
          <p:nvPr/>
        </p:nvSpPr>
        <p:spPr>
          <a:xfrm>
            <a:off x="922901" y="3328184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0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entury Gothic" panose="020F0302020204030204"/>
              </a:rPr>
              <a:t>Business Logic</a:t>
            </a:r>
          </a:p>
        </p:txBody>
      </p:sp>
      <p:sp>
        <p:nvSpPr>
          <p:cNvPr id="10" name="Rounded Rectangle 12">
            <a:extLst>
              <a:ext uri="{FF2B5EF4-FFF2-40B4-BE49-F238E27FC236}">
                <a16:creationId xmlns:a16="http://schemas.microsoft.com/office/drawing/2014/main" id="{393428D3-8CAF-4E47-A715-B981E34DC72E}"/>
              </a:ext>
            </a:extLst>
          </p:cNvPr>
          <p:cNvSpPr/>
          <p:nvPr/>
        </p:nvSpPr>
        <p:spPr>
          <a:xfrm>
            <a:off x="2703612" y="3876060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0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entury Gothic" panose="020F0302020204030204"/>
              </a:rPr>
              <a:t>Store (Redux)</a:t>
            </a:r>
          </a:p>
        </p:txBody>
      </p:sp>
      <p:sp>
        <p:nvSpPr>
          <p:cNvPr id="11" name="Rounded Rectangle 13">
            <a:extLst>
              <a:ext uri="{FF2B5EF4-FFF2-40B4-BE49-F238E27FC236}">
                <a16:creationId xmlns:a16="http://schemas.microsoft.com/office/drawing/2014/main" id="{B371F601-D10D-48A4-92AE-E3F20390DA77}"/>
              </a:ext>
            </a:extLst>
          </p:cNvPr>
          <p:cNvSpPr/>
          <p:nvPr/>
        </p:nvSpPr>
        <p:spPr>
          <a:xfrm>
            <a:off x="2703612" y="4602592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0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entury Gothic" panose="020F0302020204030204"/>
              </a:rPr>
              <a:t>Reducer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780A3DC2-AA36-4955-BE0F-48C626C3EF38}"/>
              </a:ext>
            </a:extLst>
          </p:cNvPr>
          <p:cNvSpPr/>
          <p:nvPr/>
        </p:nvSpPr>
        <p:spPr>
          <a:xfrm>
            <a:off x="580088" y="5314892"/>
            <a:ext cx="3875666" cy="888111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 dirty="0" err="1">
              <a:solidFill>
                <a:prstClr val="white"/>
              </a:solidFill>
              <a:latin typeface="Century Gothic" panose="020F0302020204030204"/>
            </a:endParaRPr>
          </a:p>
        </p:txBody>
      </p:sp>
      <p:cxnSp>
        <p:nvCxnSpPr>
          <p:cNvPr id="13" name="Elbow Connector 17">
            <a:extLst>
              <a:ext uri="{FF2B5EF4-FFF2-40B4-BE49-F238E27FC236}">
                <a16:creationId xmlns:a16="http://schemas.microsoft.com/office/drawing/2014/main" id="{B2789235-BEB7-4387-833F-16EC4EC19933}"/>
              </a:ext>
            </a:extLst>
          </p:cNvPr>
          <p:cNvCxnSpPr>
            <a:stCxn id="7" idx="1"/>
            <a:endCxn id="9" idx="0"/>
          </p:cNvCxnSpPr>
          <p:nvPr/>
        </p:nvCxnSpPr>
        <p:spPr>
          <a:xfrm rot="10800000" flipV="1">
            <a:off x="1556148" y="2389532"/>
            <a:ext cx="1137242" cy="938652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C208714-2C4E-4943-B0A6-027FFD98ED52}"/>
              </a:ext>
            </a:extLst>
          </p:cNvPr>
          <p:cNvSpPr txBox="1"/>
          <p:nvPr/>
        </p:nvSpPr>
        <p:spPr>
          <a:xfrm>
            <a:off x="1475208" y="1346183"/>
            <a:ext cx="13474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>
                <a:solidFill>
                  <a:srgbClr val="302E45"/>
                </a:solidFill>
                <a:latin typeface="Century Gothic" panose="020F0302020204030204"/>
              </a:rPr>
              <a:t>View Modu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D9BE68-704E-4261-8E6E-CDA5B18D69BC}"/>
              </a:ext>
            </a:extLst>
          </p:cNvPr>
          <p:cNvSpPr txBox="1"/>
          <p:nvPr/>
        </p:nvSpPr>
        <p:spPr>
          <a:xfrm>
            <a:off x="1583849" y="2860485"/>
            <a:ext cx="1684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>
                <a:solidFill>
                  <a:srgbClr val="302E45"/>
                </a:solidFill>
                <a:latin typeface="Century Gothic" panose="020F0302020204030204"/>
              </a:rPr>
              <a:t>Business Modu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3903A0-F5DC-4C25-942A-8BE4F12CAE20}"/>
              </a:ext>
            </a:extLst>
          </p:cNvPr>
          <p:cNvSpPr txBox="1"/>
          <p:nvPr/>
        </p:nvSpPr>
        <p:spPr>
          <a:xfrm>
            <a:off x="1560794" y="5348929"/>
            <a:ext cx="2561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b="1" dirty="0">
                <a:solidFill>
                  <a:srgbClr val="302E45"/>
                </a:solidFill>
                <a:latin typeface="Century Gothic" panose="020F0302020204030204"/>
              </a:rPr>
              <a:t>Legacy / Microservices</a:t>
            </a:r>
          </a:p>
        </p:txBody>
      </p:sp>
      <p:sp>
        <p:nvSpPr>
          <p:cNvPr id="17" name="Rounded Rectangle 7">
            <a:extLst>
              <a:ext uri="{FF2B5EF4-FFF2-40B4-BE49-F238E27FC236}">
                <a16:creationId xmlns:a16="http://schemas.microsoft.com/office/drawing/2014/main" id="{39AC3DAB-5872-46A7-A490-E1E17E9580A5}"/>
              </a:ext>
            </a:extLst>
          </p:cNvPr>
          <p:cNvSpPr/>
          <p:nvPr/>
        </p:nvSpPr>
        <p:spPr>
          <a:xfrm>
            <a:off x="2634897" y="1793262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0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entury Gothic" panose="020F0302020204030204"/>
              </a:rPr>
              <a:t>React View</a:t>
            </a:r>
          </a:p>
        </p:txBody>
      </p:sp>
      <p:cxnSp>
        <p:nvCxnSpPr>
          <p:cNvPr id="18" name="Elbow Connector 18">
            <a:extLst>
              <a:ext uri="{FF2B5EF4-FFF2-40B4-BE49-F238E27FC236}">
                <a16:creationId xmlns:a16="http://schemas.microsoft.com/office/drawing/2014/main" id="{427C88A0-5497-46D2-A799-1A5D8546A400}"/>
              </a:ext>
            </a:extLst>
          </p:cNvPr>
          <p:cNvCxnSpPr/>
          <p:nvPr/>
        </p:nvCxnSpPr>
        <p:spPr>
          <a:xfrm>
            <a:off x="2189395" y="3464853"/>
            <a:ext cx="514216" cy="54787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21">
            <a:extLst>
              <a:ext uri="{FF2B5EF4-FFF2-40B4-BE49-F238E27FC236}">
                <a16:creationId xmlns:a16="http://schemas.microsoft.com/office/drawing/2014/main" id="{28DC82CB-32B3-405D-841C-0CD203A2C99F}"/>
              </a:ext>
            </a:extLst>
          </p:cNvPr>
          <p:cNvCxnSpPr/>
          <p:nvPr/>
        </p:nvCxnSpPr>
        <p:spPr>
          <a:xfrm flipV="1">
            <a:off x="3970107" y="4012727"/>
            <a:ext cx="12697" cy="726532"/>
          </a:xfrm>
          <a:prstGeom prst="bentConnector3">
            <a:avLst>
              <a:gd name="adj1" fmla="val 180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BF2DD9D-4B57-44A7-944F-7831227642DF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1556148" y="3601518"/>
            <a:ext cx="0" cy="214897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4C7181-76A0-4BFB-A8A9-B04DBBECBEF2}"/>
              </a:ext>
            </a:extLst>
          </p:cNvPr>
          <p:cNvCxnSpPr/>
          <p:nvPr/>
        </p:nvCxnSpPr>
        <p:spPr>
          <a:xfrm>
            <a:off x="1556148" y="4875925"/>
            <a:ext cx="0" cy="87456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DD1B205-06EF-4740-8E05-7A380A956C45}"/>
              </a:ext>
            </a:extLst>
          </p:cNvPr>
          <p:cNvCxnSpPr/>
          <p:nvPr/>
        </p:nvCxnSpPr>
        <p:spPr>
          <a:xfrm>
            <a:off x="3336859" y="4149393"/>
            <a:ext cx="0" cy="45319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CD99E91-2003-4024-A4A5-0440FB55B2EE}"/>
              </a:ext>
            </a:extLst>
          </p:cNvPr>
          <p:cNvSpPr txBox="1"/>
          <p:nvPr/>
        </p:nvSpPr>
        <p:spPr>
          <a:xfrm>
            <a:off x="1008603" y="4885643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800" dirty="0">
                <a:solidFill>
                  <a:srgbClr val="302E45"/>
                </a:solidFill>
                <a:latin typeface="Century Gothic" panose="020F0302020204030204"/>
              </a:rPr>
              <a:t>AJ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65EF31F-93A5-4543-84D3-63EAFB15423B}"/>
              </a:ext>
            </a:extLst>
          </p:cNvPr>
          <p:cNvSpPr txBox="1"/>
          <p:nvPr/>
        </p:nvSpPr>
        <p:spPr>
          <a:xfrm>
            <a:off x="3570160" y="4409599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800" dirty="0">
                <a:solidFill>
                  <a:srgbClr val="302E45"/>
                </a:solidFill>
                <a:latin typeface="Century Gothic" panose="020F0302020204030204"/>
              </a:rPr>
              <a:t>New State</a:t>
            </a:r>
          </a:p>
        </p:txBody>
      </p:sp>
      <p:cxnSp>
        <p:nvCxnSpPr>
          <p:cNvPr id="26" name="Elbow Connector 62">
            <a:extLst>
              <a:ext uri="{FF2B5EF4-FFF2-40B4-BE49-F238E27FC236}">
                <a16:creationId xmlns:a16="http://schemas.microsoft.com/office/drawing/2014/main" id="{CDBB491E-D750-46C5-8690-60CA93EC2FA9}"/>
              </a:ext>
            </a:extLst>
          </p:cNvPr>
          <p:cNvCxnSpPr/>
          <p:nvPr/>
        </p:nvCxnSpPr>
        <p:spPr>
          <a:xfrm rot="5400000" flipH="1" flipV="1">
            <a:off x="2711809" y="3247611"/>
            <a:ext cx="1253500" cy="340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15">
            <a:extLst>
              <a:ext uri="{FF2B5EF4-FFF2-40B4-BE49-F238E27FC236}">
                <a16:creationId xmlns:a16="http://schemas.microsoft.com/office/drawing/2014/main" id="{701CA406-5A72-4165-AD00-460D0E1C77F0}"/>
              </a:ext>
            </a:extLst>
          </p:cNvPr>
          <p:cNvSpPr/>
          <p:nvPr/>
        </p:nvSpPr>
        <p:spPr>
          <a:xfrm>
            <a:off x="922901" y="5750494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0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entury Gothic" panose="020F0302020204030204"/>
              </a:rPr>
              <a:t>REST Servic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9B71E5-8D60-4310-9207-2FB01570B812}"/>
              </a:ext>
            </a:extLst>
          </p:cNvPr>
          <p:cNvSpPr txBox="1"/>
          <p:nvPr/>
        </p:nvSpPr>
        <p:spPr>
          <a:xfrm>
            <a:off x="2384607" y="3538092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800" dirty="0">
                <a:solidFill>
                  <a:srgbClr val="302E45"/>
                </a:solidFill>
                <a:latin typeface="Century Gothic" panose="020F0302020204030204"/>
              </a:rPr>
              <a:t>Dispatc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80CDEC-7C19-4087-B8B7-A890E5FECCA2}"/>
              </a:ext>
            </a:extLst>
          </p:cNvPr>
          <p:cNvSpPr txBox="1"/>
          <p:nvPr/>
        </p:nvSpPr>
        <p:spPr>
          <a:xfrm>
            <a:off x="2822644" y="4261643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800" dirty="0">
                <a:solidFill>
                  <a:srgbClr val="302E45"/>
                </a:solidFill>
                <a:latin typeface="Century Gothic" panose="020F0302020204030204"/>
              </a:rPr>
              <a:t>Dispatc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D6E6FC6-F86F-44FF-B948-06FE49A639BA}"/>
              </a:ext>
            </a:extLst>
          </p:cNvPr>
          <p:cNvSpPr txBox="1"/>
          <p:nvPr/>
        </p:nvSpPr>
        <p:spPr>
          <a:xfrm>
            <a:off x="4869984" y="3005019"/>
            <a:ext cx="6076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200" b="1" dirty="0">
                <a:solidFill>
                  <a:srgbClr val="302E45"/>
                </a:solidFill>
                <a:latin typeface="Century Gothic" panose="020F0302020204030204"/>
              </a:rPr>
              <a:t>Business Module :: </a:t>
            </a:r>
            <a:r>
              <a:rPr lang="en-US" sz="1200" b="1" dirty="0">
                <a:solidFill>
                  <a:srgbClr val="7030A0"/>
                </a:solidFill>
                <a:latin typeface="Century Gothic" panose="020F0302020204030204"/>
              </a:rPr>
              <a:t>to keep business logic separate.</a:t>
            </a:r>
            <a:r>
              <a:rPr lang="en-US" sz="1200" dirty="0">
                <a:solidFill>
                  <a:srgbClr val="000000"/>
                </a:solidFill>
                <a:latin typeface="Century Gothic" panose="020F0302020204030204"/>
              </a:rPr>
              <a:t> Encapsulate data and supply services (APIs) to manage it. </a:t>
            </a:r>
            <a:r>
              <a:rPr lang="en-US" sz="1200" dirty="0">
                <a:solidFill>
                  <a:srgbClr val="302E45"/>
                </a:solidFill>
                <a:latin typeface="Century Gothic" panose="020F0302020204030204"/>
              </a:rPr>
              <a:t>Dispatches actions to manipulate store or fetch/update backend services.</a:t>
            </a:r>
            <a:endParaRPr lang="en-US" sz="1200" b="1" dirty="0">
              <a:solidFill>
                <a:srgbClr val="7030A0"/>
              </a:solidFill>
              <a:latin typeface="Century Gothic" panose="020F03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457AFC-70C0-4DF5-8944-9F6372EE7D4E}"/>
              </a:ext>
            </a:extLst>
          </p:cNvPr>
          <p:cNvSpPr txBox="1"/>
          <p:nvPr/>
        </p:nvSpPr>
        <p:spPr>
          <a:xfrm>
            <a:off x="4869984" y="4265615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200" dirty="0">
                <a:solidFill>
                  <a:srgbClr val="302E45"/>
                </a:solidFill>
                <a:latin typeface="Century Gothic" panose="020F0302020204030204"/>
              </a:rPr>
              <a:t>Application state stored at single place as immutable Simple JS object which becomes single source of truth </a:t>
            </a:r>
            <a:r>
              <a:rPr lang="en-US" sz="1200" b="1" dirty="0">
                <a:solidFill>
                  <a:srgbClr val="7030A0"/>
                </a:solidFill>
                <a:latin typeface="Century Gothic" panose="020F0302020204030204"/>
              </a:rPr>
              <a:t>making it easy to maintain</a:t>
            </a:r>
            <a:endParaRPr lang="en-US" sz="1200" dirty="0">
              <a:solidFill>
                <a:srgbClr val="302E45"/>
              </a:solidFill>
              <a:latin typeface="Century Gothic" panose="020F030202020403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EB2B68-C314-438B-B1E9-528004FBA732}"/>
              </a:ext>
            </a:extLst>
          </p:cNvPr>
          <p:cNvSpPr txBox="1"/>
          <p:nvPr/>
        </p:nvSpPr>
        <p:spPr>
          <a:xfrm>
            <a:off x="4877451" y="1630934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200" dirty="0">
                <a:solidFill>
                  <a:srgbClr val="302E45"/>
                </a:solidFill>
                <a:latin typeface="Century Gothic" panose="020F0302020204030204"/>
              </a:rPr>
              <a:t>HTML via JSX notations; no business logic </a:t>
            </a:r>
            <a:r>
              <a:rPr lang="en-US" sz="1200" b="1" dirty="0">
                <a:solidFill>
                  <a:srgbClr val="7030A0"/>
                </a:solidFill>
                <a:latin typeface="Century Gothic" panose="020F0302020204030204"/>
              </a:rPr>
              <a:t>making it lighter, UI focused, easily replaceable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E26E18-03E0-4DC6-BE73-2746E6FCC097}"/>
              </a:ext>
            </a:extLst>
          </p:cNvPr>
          <p:cNvSpPr txBox="1"/>
          <p:nvPr/>
        </p:nvSpPr>
        <p:spPr>
          <a:xfrm>
            <a:off x="4869984" y="5507831"/>
            <a:ext cx="6076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200" dirty="0">
                <a:solidFill>
                  <a:srgbClr val="302E45"/>
                </a:solidFill>
                <a:latin typeface="Century Gothic" panose="020F0302020204030204"/>
              </a:rPr>
              <a:t>REST full services</a:t>
            </a:r>
            <a:endParaRPr lang="en-US" sz="1200" b="1" dirty="0">
              <a:solidFill>
                <a:srgbClr val="7030A0"/>
              </a:solidFill>
              <a:latin typeface="Century Gothic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57857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966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Impact 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9D72332-48BD-4CE5-AFF1-87566B3924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966" y="1524001"/>
            <a:ext cx="11088784" cy="3336811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latin typeface="Abadi" panose="020B0604020104020204" pitchFamily="34" charset="0"/>
              </a:rPr>
              <a:t>The impact of this approach is …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Faster </a:t>
            </a:r>
            <a:r>
              <a:rPr lang="en-US" sz="2400" dirty="0">
                <a:latin typeface="Abadi" panose="020B0604020104020204" pitchFamily="34" charset="0"/>
              </a:rPr>
              <a:t>development – allow to make changes to underlying structure of state without impacting the application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Easy to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Develop &amp; Test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Identification of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Code Breaks </a:t>
            </a:r>
            <a:r>
              <a:rPr lang="en-US" sz="2400" dirty="0">
                <a:latin typeface="Abadi" panose="020B0604020104020204" pitchFamily="34" charset="0"/>
              </a:rPr>
              <a:t>with enabling the AST based BWC check tool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Decoupling</a:t>
            </a:r>
            <a:r>
              <a:rPr lang="en-US" sz="2400" dirty="0">
                <a:latin typeface="Abadi" panose="020B0604020104020204" pitchFamily="34" charset="0"/>
              </a:rPr>
              <a:t> the business logic from the view, so making views agnostic of UI technologies/ frameworks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Reusable</a:t>
            </a:r>
            <a:r>
              <a:rPr lang="en-US" sz="2400" dirty="0">
                <a:latin typeface="Abadi" panose="020B0604020104020204" pitchFamily="34" charset="0"/>
              </a:rPr>
              <a:t> Business modules</a:t>
            </a:r>
          </a:p>
        </p:txBody>
      </p:sp>
    </p:spTree>
    <p:extLst>
      <p:ext uri="{BB962C8B-B14F-4D97-AF65-F5344CB8AC3E}">
        <p14:creationId xmlns:p14="http://schemas.microsoft.com/office/powerpoint/2010/main" val="28271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966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Impact 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1737E731-AA4E-47E8-B96A-2ECF47B08EFC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547688" y="1524001"/>
          <a:ext cx="11088688" cy="4301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4344">
                  <a:extLst>
                    <a:ext uri="{9D8B030D-6E8A-4147-A177-3AD203B41FA5}">
                      <a16:colId xmlns:a16="http://schemas.microsoft.com/office/drawing/2014/main" val="3838177802"/>
                    </a:ext>
                  </a:extLst>
                </a:gridCol>
                <a:gridCol w="5544344">
                  <a:extLst>
                    <a:ext uri="{9D8B030D-6E8A-4147-A177-3AD203B41FA5}">
                      <a16:colId xmlns:a16="http://schemas.microsoft.com/office/drawing/2014/main" val="20277718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f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f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4844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sentation was coupled by business logic, so reuse of business logic was minimal.  So across teams for same requirement the development effort was duplica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esentation &amp; Business Logic separated, which facilitates the faster development of requirements. And also reuse is now to maximum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9310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reedom to reuse business logic with different UI framework did not ex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w Customers have a choice to select the UI framework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8490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ate Manipulation was possible from different Views, so code breaks during development was not possible- which resulted in delayed deliver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e Manipulation is now only possible through Business Modules. Also with AST we have developed a utility to identify the breaks during development p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4981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ow way to only test the business logic without writing the testcases for view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logic can have mock test cases ,and also able to test the business flow just by writing simple integration test cas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535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26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85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408</Words>
  <Application>Microsoft Office PowerPoint</Application>
  <PresentationFormat>Widescreen</PresentationFormat>
  <Paragraphs>55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badi</vt:lpstr>
      <vt:lpstr>Arial</vt:lpstr>
      <vt:lpstr>Calibri</vt:lpstr>
      <vt:lpstr>Calibri Light</vt:lpstr>
      <vt:lpstr>Century Gothic</vt:lpstr>
      <vt:lpstr>Wingdings</vt:lpstr>
      <vt:lpstr>Office Theme</vt:lpstr>
      <vt:lpstr>5_4-05194 Amdocs XDC Light PPT Template</vt:lpstr>
      <vt:lpstr>Custom Design</vt:lpstr>
      <vt:lpstr>think-cell Slide</vt:lpstr>
      <vt:lpstr>PowerPoint Presentation</vt:lpstr>
      <vt:lpstr>Agenda</vt:lpstr>
      <vt:lpstr>Problems with Redux State Management</vt:lpstr>
      <vt:lpstr>Solution – the Ideation phase</vt:lpstr>
      <vt:lpstr>Implementation  - the prototyping phase</vt:lpstr>
      <vt:lpstr>Impact </vt:lpstr>
      <vt:lpstr>Impact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up Singh</dc:creator>
  <cp:lastModifiedBy>Anup Singh</cp:lastModifiedBy>
  <cp:revision>1</cp:revision>
  <dcterms:created xsi:type="dcterms:W3CDTF">2019-02-07T06:10:29Z</dcterms:created>
  <dcterms:modified xsi:type="dcterms:W3CDTF">2019-02-07T06:18:42Z</dcterms:modified>
</cp:coreProperties>
</file>